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30"/>
  </p:notesMasterIdLst>
  <p:sldIdLst>
    <p:sldId id="300" r:id="rId6"/>
    <p:sldId id="299" r:id="rId7"/>
    <p:sldId id="301" r:id="rId8"/>
    <p:sldId id="302" r:id="rId9"/>
    <p:sldId id="303" r:id="rId10"/>
    <p:sldId id="304" r:id="rId11"/>
    <p:sldId id="307" r:id="rId12"/>
    <p:sldId id="306" r:id="rId13"/>
    <p:sldId id="308" r:id="rId14"/>
    <p:sldId id="309" r:id="rId15"/>
    <p:sldId id="322" r:id="rId16"/>
    <p:sldId id="310" r:id="rId17"/>
    <p:sldId id="311" r:id="rId18"/>
    <p:sldId id="324" r:id="rId19"/>
    <p:sldId id="312" r:id="rId20"/>
    <p:sldId id="323" r:id="rId21"/>
    <p:sldId id="325" r:id="rId22"/>
    <p:sldId id="326" r:id="rId23"/>
    <p:sldId id="320" r:id="rId24"/>
    <p:sldId id="313" r:id="rId25"/>
    <p:sldId id="314" r:id="rId26"/>
    <p:sldId id="315" r:id="rId27"/>
    <p:sldId id="318" r:id="rId28"/>
    <p:sldId id="341"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5A5C68-DD40-475A-8CAC-49AD871406BC}" v="1" dt="2026-04-15T08:22:51.7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microsoft.com/office/2015/10/relationships/revisionInfo" Target="revisionInfo.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15/04/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4DD97FD-2EE7-41CD-B897-9B3DCFCEBBD5}" type="slidenum">
              <a:rPr lang="en-GB" smtClean="0"/>
              <a:t>13</a:t>
            </a:fld>
            <a:endParaRPr lang="en-GB"/>
          </a:p>
        </p:txBody>
      </p:sp>
    </p:spTree>
    <p:extLst>
      <p:ext uri="{BB962C8B-B14F-4D97-AF65-F5344CB8AC3E}">
        <p14:creationId xmlns:p14="http://schemas.microsoft.com/office/powerpoint/2010/main" val="372849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64FB9-4524-04AE-CD00-59ED3A7C6F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910F4C-05FA-60D7-FF57-63E78A516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B4254C-D32B-A476-2962-65242DB56B2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126A10D-3740-535E-BE86-0E6B8A651309}"/>
              </a:ext>
            </a:extLst>
          </p:cNvPr>
          <p:cNvSpPr>
            <a:spLocks noGrp="1"/>
          </p:cNvSpPr>
          <p:nvPr>
            <p:ph type="sldNum" sz="quarter" idx="5"/>
          </p:nvPr>
        </p:nvSpPr>
        <p:spPr/>
        <p:txBody>
          <a:bodyPr/>
          <a:lstStyle/>
          <a:p>
            <a:fld id="{44DD97FD-2EE7-41CD-B897-9B3DCFCEBBD5}" type="slidenum">
              <a:rPr lang="en-GB" smtClean="0"/>
              <a:t>14</a:t>
            </a:fld>
            <a:endParaRPr lang="en-GB"/>
          </a:p>
        </p:txBody>
      </p:sp>
    </p:spTree>
    <p:extLst>
      <p:ext uri="{BB962C8B-B14F-4D97-AF65-F5344CB8AC3E}">
        <p14:creationId xmlns:p14="http://schemas.microsoft.com/office/powerpoint/2010/main" val="24812707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15/04/2026</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15/04/2026</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15/04/2026</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15/04/2026</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15/04/2026</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15/04/2026</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15/04/2026</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15/04/2026</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15/04/2026</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15/04/2026</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15/04/2026</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15/04/2026</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jpe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5.jpeg"/><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5.jpe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gif"/><Relationship Id="rId4" Type="http://schemas.openxmlformats.org/officeDocument/2006/relationships/image" Target="../media/image5.jpeg"/></Relationships>
</file>

<file path=ppt/slides/_rels/slide2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4.png"/><Relationship Id="rId7" Type="http://schemas.openxmlformats.org/officeDocument/2006/relationships/image" Target="../media/image25.png"/><Relationship Id="rId2" Type="http://schemas.openxmlformats.org/officeDocument/2006/relationships/image" Target="../media/image23.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4.jpeg"/><Relationship Id="rId4" Type="http://schemas.openxmlformats.org/officeDocument/2006/relationships/image" Target="../media/image5.jpe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7.pn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1028833268"/>
              </p:ext>
            </p:extLst>
          </p:nvPr>
        </p:nvGraphicFramePr>
        <p:xfrm>
          <a:off x="639027" y="1694491"/>
          <a:ext cx="7122489" cy="3212544"/>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195405">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Google Pla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rg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d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1%</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Ice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Toby Carve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IKEA</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 &amp; fuel car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rPr>
                        <a:t>Miller &amp; Carter</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Deliver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Foot locker</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097247" cy="923330"/>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a:r>
            <a:r>
              <a:rPr lang="en-GB" i="1" dirty="0">
                <a:latin typeface="Calibri" panose="020F0502020204030204" pitchFamily="34" charset="0"/>
                <a:cs typeface="Calibri" panose="020F0502020204030204" pitchFamily="34" charset="0"/>
              </a:rPr>
              <a:t>of  28 Jan 2026 </a:t>
            </a:r>
            <a:r>
              <a:rPr lang="en-GB" sz="1800" i="1" dirty="0">
                <a:latin typeface="Calibri" panose="020F0502020204030204" pitchFamily="34" charset="0"/>
                <a:cs typeface="Calibri" panose="020F0502020204030204" pitchFamily="34" charset="0"/>
              </a:rPr>
              <a:t>and are subject to change</a:t>
            </a:r>
          </a:p>
          <a:p>
            <a:r>
              <a:rPr lang="en-GB" b="1" i="1" dirty="0">
                <a:latin typeface="Calibri" panose="020F0502020204030204" pitchFamily="34" charset="0"/>
                <a:cs typeface="Calibri" panose="020F0502020204030204" pitchFamily="34" charset="0"/>
              </a:rPr>
              <a:t>Also, you can still use your loyalty cards with the retailers </a:t>
            </a:r>
          </a:p>
          <a:p>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2910156"/>
          </a:xfrm>
          <a:prstGeom prst="rect">
            <a:avLst/>
          </a:prstGeom>
          <a:noFill/>
        </p:spPr>
        <p:txBody>
          <a:bodyPr wrap="square" rtlCol="0">
            <a:spAutoFit/>
          </a:bodyPr>
          <a:lstStyle/>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descr="A blue background with text and a blue square with a blue triangle with a blue triangle with a white triangle with a blue triangle with a white triangle with a blue triangle with a white triangle with a&#10;&#10;Description automatically generated">
            <a:extLst>
              <a:ext uri="{FF2B5EF4-FFF2-40B4-BE49-F238E27FC236}">
                <a16:creationId xmlns:a16="http://schemas.microsoft.com/office/drawing/2014/main" id="{B27E2642-EEBB-BE6D-B5F2-B9E80172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571" y="1214695"/>
            <a:ext cx="8073625" cy="5079425"/>
          </a:xfrm>
          <a:prstGeom prst="rect">
            <a:avLst/>
          </a:prstGeom>
        </p:spPr>
      </p:pic>
    </p:spTree>
    <p:extLst>
      <p:ext uri="{BB962C8B-B14F-4D97-AF65-F5344CB8AC3E}">
        <p14:creationId xmlns:p14="http://schemas.microsoft.com/office/powerpoint/2010/main" val="1306173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VIP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VIP</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offering exclusive pricing on Hotpoint, Whirlpool and Indesit products – over 850 different appliances.</a:t>
            </a: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AEC5F49A-C18B-809D-BAD3-2C9C165C7CEF}"/>
              </a:ext>
            </a:extLst>
          </p:cNvPr>
          <p:cNvPicPr>
            <a:picLocks noChangeAspect="1"/>
          </p:cNvPicPr>
          <p:nvPr/>
        </p:nvPicPr>
        <p:blipFill>
          <a:blip r:embed="rId5"/>
          <a:stretch>
            <a:fillRect/>
          </a:stretch>
        </p:blipFill>
        <p:spPr>
          <a:xfrm>
            <a:off x="8079225" y="2009194"/>
            <a:ext cx="1924050" cy="361950"/>
          </a:xfrm>
          <a:prstGeom prst="rect">
            <a:avLst/>
          </a:prstGeom>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Additional Member Discounts</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84235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surance Commission Rebate Scheme</a:t>
            </a:r>
          </a:p>
          <a:p>
            <a:pPr eaLnBrk="1" hangingPunct="1">
              <a:spcBef>
                <a:spcPts val="1000"/>
              </a:spcBef>
            </a:pPr>
            <a:r>
              <a:rPr lang="en-US" altLang="en-US" sz="2000" dirty="0">
                <a:solidFill>
                  <a:schemeClr val="tx1"/>
                </a:solidFill>
                <a:latin typeface="Arial" panose="020B0604020202020204" pitchFamily="34" charset="0"/>
                <a:sym typeface="Arial" panose="020B0604020202020204" pitchFamily="34" charset="0"/>
              </a:rPr>
              <a:t>IFS Wealth &amp; Pensions (IFSWP) is an entirely independent company able to offer a Premium Comparison Service to NGSU members and their immediate family. This is a non-advised service in which a cost comparison is provided for insurance policies, such as:</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ortgage Protection (Life and/or Critical Illness)</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itical Illness	</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come Protection</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fe Assurance</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mily Protection</a:t>
            </a:r>
          </a:p>
          <a:p>
            <a:pPr>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Receive an exclusive 50% commission rebate for your own policy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1F2948D5-4248-4652-B960-3677036FE2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spTree>
    <p:extLst>
      <p:ext uri="{BB962C8B-B14F-4D97-AF65-F5344CB8AC3E}">
        <p14:creationId xmlns:p14="http://schemas.microsoft.com/office/powerpoint/2010/main" val="74430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9216C-B637-28A7-F019-B47033BE305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B19AF62-BA5F-B071-F80E-B2A86925F98E}"/>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11F60805-371C-E26F-F419-2AFE559D55B6}"/>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99567411-FAEA-F7C7-69DD-CA6495133E3F}"/>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02C9059F-BCEC-94D1-492A-B78CA59C52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C2524954-3D60-A735-F258-B5D5D7A001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graphicFrame>
        <p:nvGraphicFramePr>
          <p:cNvPr id="3" name="Table 2">
            <a:extLst>
              <a:ext uri="{FF2B5EF4-FFF2-40B4-BE49-F238E27FC236}">
                <a16:creationId xmlns:a16="http://schemas.microsoft.com/office/drawing/2014/main" id="{5175B9E4-58CF-A0CE-77DB-A4FCE0B500CE}"/>
              </a:ext>
            </a:extLst>
          </p:cNvPr>
          <p:cNvGraphicFramePr>
            <a:graphicFrameLocks noGrp="1"/>
          </p:cNvGraphicFramePr>
          <p:nvPr>
            <p:extLst>
              <p:ext uri="{D42A27DB-BD31-4B8C-83A1-F6EECF244321}">
                <p14:modId xmlns:p14="http://schemas.microsoft.com/office/powerpoint/2010/main" val="3990987587"/>
              </p:ext>
            </p:extLst>
          </p:nvPr>
        </p:nvGraphicFramePr>
        <p:xfrm>
          <a:off x="957943" y="2892836"/>
          <a:ext cx="5802085" cy="3353993"/>
        </p:xfrm>
        <a:graphic>
          <a:graphicData uri="http://schemas.openxmlformats.org/drawingml/2006/table">
            <a:tbl>
              <a:tblPr bandRow="1">
                <a:tableStyleId>{5C22544A-7EE6-4342-B048-85BDC9FD1C3A}</a:tableStyleId>
              </a:tblPr>
              <a:tblGrid>
                <a:gridCol w="2279965">
                  <a:extLst>
                    <a:ext uri="{9D8B030D-6E8A-4147-A177-3AD203B41FA5}">
                      <a16:colId xmlns:a16="http://schemas.microsoft.com/office/drawing/2014/main" val="2657114506"/>
                    </a:ext>
                  </a:extLst>
                </a:gridCol>
                <a:gridCol w="1776162">
                  <a:extLst>
                    <a:ext uri="{9D8B030D-6E8A-4147-A177-3AD203B41FA5}">
                      <a16:colId xmlns:a16="http://schemas.microsoft.com/office/drawing/2014/main" val="2265441044"/>
                    </a:ext>
                  </a:extLst>
                </a:gridCol>
                <a:gridCol w="845668">
                  <a:extLst>
                    <a:ext uri="{9D8B030D-6E8A-4147-A177-3AD203B41FA5}">
                      <a16:colId xmlns:a16="http://schemas.microsoft.com/office/drawing/2014/main" val="4189573768"/>
                    </a:ext>
                  </a:extLst>
                </a:gridCol>
                <a:gridCol w="900290">
                  <a:extLst>
                    <a:ext uri="{9D8B030D-6E8A-4147-A177-3AD203B41FA5}">
                      <a16:colId xmlns:a16="http://schemas.microsoft.com/office/drawing/2014/main" val="868637661"/>
                    </a:ext>
                  </a:extLst>
                </a:gridCol>
              </a:tblGrid>
              <a:tr h="607983">
                <a:tc>
                  <a:txBody>
                    <a:bodyPr/>
                    <a:lstStyle/>
                    <a:p>
                      <a:pPr>
                        <a:lnSpc>
                          <a:spcPct val="115000"/>
                        </a:lnSpc>
                        <a:buNone/>
                      </a:pPr>
                      <a:r>
                        <a:rPr lang="en-GB" sz="1100" dirty="0">
                          <a:effectLst/>
                        </a:rPr>
                        <a:t>Scenario</a:t>
                      </a:r>
                      <a:endParaRPr lang="en-GB" sz="1100" dirty="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Type of cover</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Monthly premium</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Estimated rebate*</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1876287736"/>
                  </a:ext>
                </a:extLst>
              </a:tr>
              <a:tr h="607983">
                <a:tc>
                  <a:txBody>
                    <a:bodyPr/>
                    <a:lstStyle/>
                    <a:p>
                      <a:pPr>
                        <a:lnSpc>
                          <a:spcPct val="115000"/>
                        </a:lnSpc>
                        <a:buNone/>
                      </a:pPr>
                      <a:r>
                        <a:rPr lang="en-GB" sz="1100">
                          <a:effectLst/>
                        </a:rPr>
                        <a:t>New homeowners protecting their mortgage</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Mortgage protection (Joint – Life only)</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11</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135</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420738853"/>
                  </a:ext>
                </a:extLst>
              </a:tr>
              <a:tr h="922061">
                <a:tc>
                  <a:txBody>
                    <a:bodyPr/>
                    <a:lstStyle/>
                    <a:p>
                      <a:pPr>
                        <a:lnSpc>
                          <a:spcPct val="115000"/>
                        </a:lnSpc>
                        <a:buNone/>
                      </a:pPr>
                      <a:r>
                        <a:rPr lang="en-GB" sz="1100">
                          <a:effectLst/>
                        </a:rPr>
                        <a:t>Couple adding critical illness cover to their mortgage protection</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Mortgage protection (Joint – Life and critical illness)</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88</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1,077</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179845232"/>
                  </a:ext>
                </a:extLst>
              </a:tr>
              <a:tr h="607983">
                <a:tc>
                  <a:txBody>
                    <a:bodyPr/>
                    <a:lstStyle/>
                    <a:p>
                      <a:pPr>
                        <a:lnSpc>
                          <a:spcPct val="115000"/>
                        </a:lnSpc>
                        <a:buNone/>
                      </a:pPr>
                      <a:r>
                        <a:rPr lang="en-GB" sz="1100">
                          <a:effectLst/>
                        </a:rPr>
                        <a:t>Parent securing financial support for their family</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Family protection (Joint – Life cover only)</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12</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148</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69706670"/>
                  </a:ext>
                </a:extLst>
              </a:tr>
              <a:tr h="607983">
                <a:tc>
                  <a:txBody>
                    <a:bodyPr/>
                    <a:lstStyle/>
                    <a:p>
                      <a:pPr>
                        <a:lnSpc>
                          <a:spcPct val="115000"/>
                        </a:lnSpc>
                        <a:buNone/>
                      </a:pPr>
                      <a:r>
                        <a:rPr lang="en-GB" sz="1100">
                          <a:effectLst/>
                        </a:rPr>
                        <a:t>Individual looking to protect their income</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Income protection (Single)</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9</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dirty="0">
                          <a:effectLst/>
                        </a:rPr>
                        <a:t>£110</a:t>
                      </a:r>
                      <a:endParaRPr lang="en-GB" sz="1100" dirty="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2140965926"/>
                  </a:ext>
                </a:extLst>
              </a:tr>
            </a:tbl>
          </a:graphicData>
        </a:graphic>
      </p:graphicFrame>
      <p:sp>
        <p:nvSpPr>
          <p:cNvPr id="5" name="Rectangle 1">
            <a:extLst>
              <a:ext uri="{FF2B5EF4-FFF2-40B4-BE49-F238E27FC236}">
                <a16:creationId xmlns:a16="http://schemas.microsoft.com/office/drawing/2014/main" id="{FDEB2D3E-4121-8E70-9926-80956C31B971}"/>
              </a:ext>
            </a:extLst>
          </p:cNvPr>
          <p:cNvSpPr>
            <a:spLocks noGrp="1" noChangeArrowheads="1"/>
          </p:cNvSpPr>
          <p:nvPr>
            <p:ph type="ctrTitle"/>
          </p:nvPr>
        </p:nvSpPr>
        <p:spPr bwMode="auto">
          <a:xfrm>
            <a:off x="1524000" y="1923748"/>
            <a:ext cx="8436925" cy="784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hat could your rebate look like?</a:t>
            </a:r>
            <a:endParaRPr kumimoji="0" lang="en-GB" altLang="en-US" sz="20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GB" altLang="en-US" sz="11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br>
            <a:r>
              <a:rPr kumimoji="0" lang="en-GB"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Here are some example quotes to give you an idea of what members might receive through the scheme</a:t>
            </a:r>
            <a:r>
              <a:rPr kumimoji="0" lang="en-GB" altLang="en-US" sz="11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79829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mp; website. Also, available for your family</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89326" y="1629926"/>
            <a:ext cx="10495328" cy="4288353"/>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liday Extras  </a:t>
            </a: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pPr>
            <a:r>
              <a:rPr lang="en-US" altLang="en-US" sz="2000" b="1" dirty="0">
                <a:solidFill>
                  <a:srgbClr val="002060"/>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ave up to 10% off travel essential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Hotel &amp; Parking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Lounge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Hire</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Fast Track</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ort Parking &amp; Hotel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avel Insurance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966725D1-C505-AEB9-FEA6-BDD39ADCAA81}"/>
              </a:ext>
            </a:extLst>
          </p:cNvPr>
          <p:cNvPicPr>
            <a:picLocks noChangeAspect="1"/>
          </p:cNvPicPr>
          <p:nvPr/>
        </p:nvPicPr>
        <p:blipFill>
          <a:blip r:embed="rId5"/>
          <a:stretch>
            <a:fillRect/>
          </a:stretch>
        </p:blipFill>
        <p:spPr>
          <a:xfrm>
            <a:off x="6057900" y="3414712"/>
            <a:ext cx="76200" cy="28575"/>
          </a:xfrm>
          <a:prstGeom prst="rect">
            <a:avLst/>
          </a:prstGeom>
        </p:spPr>
      </p:pic>
      <p:pic>
        <p:nvPicPr>
          <p:cNvPr id="12" name="Picture 11">
            <a:extLst>
              <a:ext uri="{FF2B5EF4-FFF2-40B4-BE49-F238E27FC236}">
                <a16:creationId xmlns:a16="http://schemas.microsoft.com/office/drawing/2014/main" id="{93968E06-EF13-7F77-8D4F-5072778FE0FD}"/>
              </a:ext>
            </a:extLst>
          </p:cNvPr>
          <p:cNvPicPr>
            <a:picLocks noChangeAspect="1"/>
          </p:cNvPicPr>
          <p:nvPr/>
        </p:nvPicPr>
        <p:blipFill>
          <a:blip r:embed="rId6"/>
          <a:stretch>
            <a:fillRect/>
          </a:stretch>
        </p:blipFill>
        <p:spPr>
          <a:xfrm>
            <a:off x="7734168" y="2545913"/>
            <a:ext cx="3209925" cy="1704975"/>
          </a:xfrm>
          <a:prstGeom prst="rect">
            <a:avLst/>
          </a:prstGeom>
        </p:spPr>
      </p:pic>
    </p:spTree>
    <p:extLst>
      <p:ext uri="{BB962C8B-B14F-4D97-AF65-F5344CB8AC3E}">
        <p14:creationId xmlns:p14="http://schemas.microsoft.com/office/powerpoint/2010/main" val="5506252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237C2-19B8-C3AA-2C34-F2EAE9CA123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B7CD09F-0575-11E3-581C-101F7012811A}"/>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084A641A-68F1-17FD-3B7D-94EF777D0FCC}"/>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FBB3E210-B281-2F9E-3539-664FF60FAB6F}"/>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124A3929-3449-A8A8-A419-EE1DF4136D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F599C2C7-0349-BFE9-338F-6172E7D5EC75}"/>
              </a:ext>
            </a:extLst>
          </p:cNvPr>
          <p:cNvPicPr>
            <a:picLocks noChangeAspect="1"/>
          </p:cNvPicPr>
          <p:nvPr/>
        </p:nvPicPr>
        <p:blipFill>
          <a:blip r:embed="rId4"/>
          <a:stretch>
            <a:fillRect/>
          </a:stretch>
        </p:blipFill>
        <p:spPr>
          <a:xfrm>
            <a:off x="6057900" y="3414712"/>
            <a:ext cx="76200" cy="28575"/>
          </a:xfrm>
          <a:prstGeom prst="rect">
            <a:avLst/>
          </a:prstGeom>
        </p:spPr>
      </p:pic>
      <p:pic>
        <p:nvPicPr>
          <p:cNvPr id="1026" name="Picture 2">
            <a:extLst>
              <a:ext uri="{FF2B5EF4-FFF2-40B4-BE49-F238E27FC236}">
                <a16:creationId xmlns:a16="http://schemas.microsoft.com/office/drawing/2014/main" id="{75C76104-F946-2B17-4468-C70468C62B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33713" y="2024063"/>
            <a:ext cx="6124575" cy="2809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4858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6EA35-9010-00C2-BFC5-DF6B424E7DB1}"/>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A7917AB-B1A4-B6DA-9D86-D33B0D520466}"/>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6523CCC6-0C1E-C07F-4192-D0DB6ACDFE77}"/>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0FE91B59-67BD-8ECD-0668-90D89FAE9A9A}"/>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CC7DCDF8-1A8A-5E5E-2C64-E0828EA1ED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F83A6316-8342-47D9-1EFD-BB13A57B70C4}"/>
              </a:ext>
            </a:extLst>
          </p:cNvPr>
          <p:cNvPicPr>
            <a:picLocks noChangeAspect="1"/>
          </p:cNvPicPr>
          <p:nvPr/>
        </p:nvPicPr>
        <p:blipFill>
          <a:blip r:embed="rId4"/>
          <a:stretch>
            <a:fillRect/>
          </a:stretch>
        </p:blipFill>
        <p:spPr>
          <a:xfrm>
            <a:off x="6057900" y="3414712"/>
            <a:ext cx="76200" cy="28575"/>
          </a:xfrm>
          <a:prstGeom prst="rect">
            <a:avLst/>
          </a:prstGeom>
        </p:spPr>
      </p:pic>
      <p:pic>
        <p:nvPicPr>
          <p:cNvPr id="2" name="Picture 2">
            <a:extLst>
              <a:ext uri="{FF2B5EF4-FFF2-40B4-BE49-F238E27FC236}">
                <a16:creationId xmlns:a16="http://schemas.microsoft.com/office/drawing/2014/main" id="{DD7D8A42-9ADF-AA1A-8A38-D0067CCDA0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037" y="1386313"/>
            <a:ext cx="3823607" cy="261733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631AEC5-555B-E183-524B-1C062F465B63}"/>
              </a:ext>
            </a:extLst>
          </p:cNvPr>
          <p:cNvSpPr txBox="1"/>
          <p:nvPr/>
        </p:nvSpPr>
        <p:spPr>
          <a:xfrm>
            <a:off x="3048000" y="2690336"/>
            <a:ext cx="6096000" cy="369332"/>
          </a:xfrm>
          <a:prstGeom prst="rect">
            <a:avLst/>
          </a:prstGeom>
          <a:noFill/>
        </p:spPr>
        <p:txBody>
          <a:bodyPr wrap="square">
            <a:spAutoFit/>
          </a:bodyPr>
          <a:lstStyle/>
          <a:p>
            <a:r>
              <a:rPr lang="en-US" b="0" i="0" dirty="0">
                <a:solidFill>
                  <a:srgbClr val="233D66"/>
                </a:solidFill>
                <a:effectLst/>
                <a:latin typeface="Myriad Regular"/>
              </a:rPr>
              <a:t>. </a:t>
            </a:r>
            <a:endParaRPr lang="en-GB" dirty="0"/>
          </a:p>
        </p:txBody>
      </p:sp>
      <p:sp>
        <p:nvSpPr>
          <p:cNvPr id="11" name="TextBox 10">
            <a:extLst>
              <a:ext uri="{FF2B5EF4-FFF2-40B4-BE49-F238E27FC236}">
                <a16:creationId xmlns:a16="http://schemas.microsoft.com/office/drawing/2014/main" id="{9529C642-B608-6176-B75F-87C394374E73}"/>
              </a:ext>
            </a:extLst>
          </p:cNvPr>
          <p:cNvSpPr txBox="1"/>
          <p:nvPr/>
        </p:nvSpPr>
        <p:spPr>
          <a:xfrm flipV="1">
            <a:off x="3048000" y="4167663"/>
            <a:ext cx="4778829" cy="369332"/>
          </a:xfrm>
          <a:prstGeom prst="rect">
            <a:avLst/>
          </a:prstGeom>
          <a:noFill/>
        </p:spPr>
        <p:txBody>
          <a:bodyPr wrap="square">
            <a:spAutoFit/>
          </a:bodyPr>
          <a:lstStyle/>
          <a:p>
            <a:endParaRPr lang="en-GB" dirty="0"/>
          </a:p>
        </p:txBody>
      </p:sp>
      <p:sp>
        <p:nvSpPr>
          <p:cNvPr id="13" name="TextBox 12">
            <a:extLst>
              <a:ext uri="{FF2B5EF4-FFF2-40B4-BE49-F238E27FC236}">
                <a16:creationId xmlns:a16="http://schemas.microsoft.com/office/drawing/2014/main" id="{FD1DE273-D410-6085-1D73-4EC9F3CF802C}"/>
              </a:ext>
            </a:extLst>
          </p:cNvPr>
          <p:cNvSpPr txBox="1"/>
          <p:nvPr/>
        </p:nvSpPr>
        <p:spPr>
          <a:xfrm>
            <a:off x="4491815" y="1828246"/>
            <a:ext cx="6670027" cy="2677656"/>
          </a:xfrm>
          <a:prstGeom prst="rect">
            <a:avLst/>
          </a:prstGeom>
          <a:noFill/>
        </p:spPr>
        <p:txBody>
          <a:bodyPr wrap="square">
            <a:spAutoFit/>
          </a:bodyPr>
          <a:lstStyle/>
          <a:p>
            <a:r>
              <a:rPr lang="en-US" sz="2400" b="1" i="0" dirty="0">
                <a:solidFill>
                  <a:srgbClr val="233D66"/>
                </a:solidFill>
                <a:effectLst/>
                <a:latin typeface="Myriad Regular"/>
              </a:rPr>
              <a:t>We have partnered with a specialist company who have been around for over 35 years, who find the best deal for you with a panel of lenders.  They do all the hard work, once you have decided what car you would like to lease.   They are able offer a wide range of vehicles and have a great reputation for service. (available to family as well!) </a:t>
            </a:r>
            <a:endParaRPr lang="en-GB" sz="2400" b="1" dirty="0"/>
          </a:p>
        </p:txBody>
      </p:sp>
    </p:spTree>
    <p:extLst>
      <p:ext uri="{BB962C8B-B14F-4D97-AF65-F5344CB8AC3E}">
        <p14:creationId xmlns:p14="http://schemas.microsoft.com/office/powerpoint/2010/main" val="25311709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91*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bout NGSU</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years within NBS </a:t>
            </a:r>
            <a:endParaRPr lang="en-US" altLang="en-US" sz="2000" dirty="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66281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 25% Off O2 Refresh  20% discount for family members</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later &amp; </a:t>
            </a:r>
            <a:r>
              <a:rPr lang="en-US" altLang="en-US" sz="2000" b="1"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ordon Solicitor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dvice back service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sonal Injury Claims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dirty="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dirty="0"/>
          </a:p>
          <a:p>
            <a:pPr eaLnBrk="1" hangingPunct="1">
              <a:spcBef>
                <a:spcPts val="1000"/>
              </a:spcBef>
              <a:tabLst>
                <a:tab pos="10944225"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dirty="0"/>
          </a:p>
        </p:txBody>
      </p:sp>
      <p:pic>
        <p:nvPicPr>
          <p:cNvPr id="3" name="Picture 2" descr="A screenshot of a computer&#10;&#10;Description automatically generated">
            <a:extLst>
              <a:ext uri="{FF2B5EF4-FFF2-40B4-BE49-F238E27FC236}">
                <a16:creationId xmlns:a16="http://schemas.microsoft.com/office/drawing/2014/main" id="{D17898EB-D03B-659B-75F9-B3E666423F74}"/>
              </a:ext>
            </a:extLst>
          </p:cNvPr>
          <p:cNvPicPr>
            <a:picLocks noChangeAspect="1"/>
          </p:cNvPicPr>
          <p:nvPr/>
        </p:nvPicPr>
        <p:blipFill rotWithShape="1">
          <a:blip r:embed="rId7"/>
          <a:srcRect l="971" t="9619" r="2876" b="5280"/>
          <a:stretch/>
        </p:blipFill>
        <p:spPr bwMode="auto">
          <a:xfrm>
            <a:off x="6466114" y="1278338"/>
            <a:ext cx="5615235" cy="3163257"/>
          </a:xfrm>
          <a:prstGeom prst="rect">
            <a:avLst/>
          </a:prstGeom>
          <a:ln>
            <a:noFill/>
          </a:ln>
          <a:extLst>
            <a:ext uri="{53640926-AAD7-44D8-BBD7-CCE9431645EC}">
              <a14:shadowObscured xmlns:a14="http://schemas.microsoft.com/office/drawing/2010/main"/>
            </a:ext>
          </a:extLst>
        </p:spPr>
      </p:pic>
      <p:pic>
        <p:nvPicPr>
          <p:cNvPr id="6" name="Picture 5" descr="A person in a blue blazer">
            <a:extLst>
              <a:ext uri="{FF2B5EF4-FFF2-40B4-BE49-F238E27FC236}">
                <a16:creationId xmlns:a16="http://schemas.microsoft.com/office/drawing/2014/main" id="{5C7C3235-3D4C-0DDD-B5FB-C62E7209D8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15651" y="1449748"/>
            <a:ext cx="6376349" cy="3022533"/>
          </a:xfrm>
          <a:prstGeom prst="rect">
            <a:avLst/>
          </a:prstGeom>
        </p:spPr>
      </p:pic>
    </p:spTree>
    <p:extLst>
      <p:ext uri="{BB962C8B-B14F-4D97-AF65-F5344CB8AC3E}">
        <p14:creationId xmlns:p14="http://schemas.microsoft.com/office/powerpoint/2010/main" val="20598813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36734878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A00FC-2185-1D09-953E-CA32EC056687}"/>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5FD11DDA-FB28-9365-6D8D-1BFF35008EE3}"/>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1FB77D74-9053-8A76-E814-524058D6DFD8}"/>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4CE434B8-B4AE-0D65-06B5-8A08AB4C3A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5086C25-D190-6638-AAF8-443B92D767DA}"/>
              </a:ext>
            </a:extLst>
          </p:cNvPr>
          <p:cNvSpPr txBox="1"/>
          <p:nvPr/>
        </p:nvSpPr>
        <p:spPr>
          <a:xfrm>
            <a:off x="575201" y="2312164"/>
            <a:ext cx="10842171" cy="2862322"/>
          </a:xfrm>
          <a:prstGeom prst="rect">
            <a:avLst/>
          </a:prstGeom>
          <a:noFill/>
        </p:spPr>
        <p:txBody>
          <a:bodyPr wrap="square" rtlCol="0">
            <a:spAutoFit/>
          </a:bodyPr>
          <a:lstStyle/>
          <a:p>
            <a:pPr algn="ctr"/>
            <a:r>
              <a:rPr lang="en-GB" sz="6000" b="1" dirty="0">
                <a:solidFill>
                  <a:srgbClr val="1B3D69"/>
                </a:solidFill>
              </a:rPr>
              <a:t>Thank you!</a:t>
            </a:r>
          </a:p>
          <a:p>
            <a:pPr algn="ctr"/>
            <a:r>
              <a:rPr lang="en-GB" sz="6000" b="1" dirty="0">
                <a:solidFill>
                  <a:srgbClr val="1B3D69"/>
                </a:solidFill>
              </a:rPr>
              <a:t>Any questions?</a:t>
            </a:r>
          </a:p>
          <a:p>
            <a:endParaRPr lang="en-GB" sz="6000" dirty="0"/>
          </a:p>
        </p:txBody>
      </p:sp>
    </p:spTree>
    <p:extLst>
      <p:ext uri="{BB962C8B-B14F-4D97-AF65-F5344CB8AC3E}">
        <p14:creationId xmlns:p14="http://schemas.microsoft.com/office/powerpoint/2010/main" val="2334296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5572" y="2892067"/>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 End of Year Appraisals Appeals &amp; Ill Health Meeting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quest for Resolution (RfR)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Flexible Working Requests &amp; Appeal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7" name="TextBox 6">
            <a:extLst>
              <a:ext uri="{FF2B5EF4-FFF2-40B4-BE49-F238E27FC236}">
                <a16:creationId xmlns:a16="http://schemas.microsoft.com/office/drawing/2014/main" id="{554603A4-3601-E60A-764C-7025D6CF619A}"/>
              </a:ext>
            </a:extLst>
          </p:cNvPr>
          <p:cNvSpPr txBox="1"/>
          <p:nvPr/>
        </p:nvSpPr>
        <p:spPr>
          <a:xfrm>
            <a:off x="515571" y="1514475"/>
            <a:ext cx="11197457" cy="5078313"/>
          </a:xfrm>
          <a:prstGeom prst="rect">
            <a:avLst/>
          </a:prstGeom>
          <a:noFill/>
        </p:spPr>
        <p:txBody>
          <a:bodyPr wrap="square" rtlCol="0">
            <a:spAutoFit/>
          </a:bodyPr>
          <a:lstStyle/>
          <a:p>
            <a:r>
              <a:rPr lang="en-GB" sz="2400" b="1" dirty="0"/>
              <a:t>Support &amp; Emergency Leave </a:t>
            </a:r>
            <a:r>
              <a:rPr lang="en-GB" sz="2400" dirty="0"/>
              <a:t>- gives you up to 5 days paid leave each calendar year (pro-rated for parttime employees) to help you with caring responsibilities for dependents of all ages, or to deal with domestic emergencies.</a:t>
            </a:r>
          </a:p>
          <a:p>
            <a:endParaRPr lang="en-GB" sz="2400" dirty="0"/>
          </a:p>
          <a:p>
            <a:r>
              <a:rPr lang="en-GB" sz="2400" b="1" dirty="0"/>
              <a:t>Bereavement Leave</a:t>
            </a:r>
            <a:r>
              <a:rPr lang="en-GB" sz="2400" dirty="0"/>
              <a:t> – When someone you’re close to is seriously ill, you can take compassionate leave. This is normally up to twenty days’ paid leave for both types of leave (pro-rated if you’re part-time).</a:t>
            </a:r>
          </a:p>
          <a:p>
            <a:endParaRPr lang="en-GB" sz="2400" dirty="0"/>
          </a:p>
          <a:p>
            <a:r>
              <a:rPr lang="en-GB" sz="2400" b="1" dirty="0"/>
              <a:t>Pension – </a:t>
            </a:r>
            <a:r>
              <a:rPr lang="en-GB" sz="2400" dirty="0"/>
              <a:t>Nationwide will contribute 10% regardless of your contribution &amp; up to</a:t>
            </a:r>
          </a:p>
          <a:p>
            <a:r>
              <a:rPr lang="en-GB" sz="2400" dirty="0"/>
              <a:t>13%</a:t>
            </a:r>
            <a:r>
              <a:rPr lang="en-GB" sz="2400" b="1" dirty="0"/>
              <a:t> </a:t>
            </a:r>
          </a:p>
          <a:p>
            <a:endParaRPr lang="en-GB" sz="2400" b="1" dirty="0"/>
          </a:p>
          <a:p>
            <a:r>
              <a:rPr lang="en-GB" sz="2400" b="1" dirty="0"/>
              <a:t>Holidays –</a:t>
            </a:r>
            <a:r>
              <a:rPr lang="en-GB" sz="2400" dirty="0"/>
              <a:t> 30 days holiday after 5 years of service           </a:t>
            </a:r>
            <a:endParaRPr lang="en-GB" sz="2400" b="1"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pic>
        <p:nvPicPr>
          <p:cNvPr id="10" name="Picture 9" descr="A picture containing logo&#10;&#10;Description automatically generated">
            <a:extLst>
              <a:ext uri="{FF2B5EF4-FFF2-40B4-BE49-F238E27FC236}">
                <a16:creationId xmlns:a16="http://schemas.microsoft.com/office/drawing/2014/main" id="{A5F79832-ED36-40EC-A35B-1A47AA3B19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3" name="TextBox 2">
            <a:extLst>
              <a:ext uri="{FF2B5EF4-FFF2-40B4-BE49-F238E27FC236}">
                <a16:creationId xmlns:a16="http://schemas.microsoft.com/office/drawing/2014/main" id="{8F4E4CA3-CD26-DF09-1186-FD872F25F3E9}"/>
              </a:ext>
            </a:extLst>
          </p:cNvPr>
          <p:cNvSpPr txBox="1"/>
          <p:nvPr/>
        </p:nvSpPr>
        <p:spPr>
          <a:xfrm>
            <a:off x="443312" y="1310839"/>
            <a:ext cx="11280601" cy="4801314"/>
          </a:xfrm>
          <a:prstGeom prst="rect">
            <a:avLst/>
          </a:prstGeom>
          <a:noFill/>
        </p:spPr>
        <p:txBody>
          <a:bodyPr wrap="square" rtlCol="0">
            <a:spAutoFit/>
          </a:bodyPr>
          <a:lstStyle/>
          <a:p>
            <a:r>
              <a:rPr lang="en-GB" sz="2400" b="1" dirty="0"/>
              <a:t>Time Off for Medical and Dental Appointments - </a:t>
            </a:r>
            <a:r>
              <a:rPr lang="en-GB" sz="2400" dirty="0"/>
              <a:t>When you can’t arrange to make medical/dental appointments outside of your work hours Nationwide allows you to take a reasonable amount of paid time to go to appointments without making up the time. </a:t>
            </a:r>
          </a:p>
          <a:p>
            <a:endParaRPr lang="en-GB" sz="2400" dirty="0"/>
          </a:p>
          <a:p>
            <a:r>
              <a:rPr lang="en-GB" sz="2400" b="1" dirty="0"/>
              <a:t>Paternity Leave – </a:t>
            </a:r>
            <a:r>
              <a:rPr lang="en-GB" sz="2400" dirty="0"/>
              <a:t>13 weeks paid leave</a:t>
            </a:r>
          </a:p>
          <a:p>
            <a:endParaRPr lang="en-GB" sz="2400" dirty="0"/>
          </a:p>
          <a:p>
            <a:r>
              <a:rPr lang="en-GB" sz="2400" b="1" dirty="0"/>
              <a:t>Maternity Leave </a:t>
            </a:r>
            <a:r>
              <a:rPr lang="en-GB" sz="2400" dirty="0"/>
              <a:t>– 26 weeks full pay, 13 weeks SMP</a:t>
            </a:r>
            <a:endParaRPr lang="en-GB" sz="2400" b="1" dirty="0"/>
          </a:p>
          <a:p>
            <a:endParaRPr lang="en-GB" sz="2400" dirty="0"/>
          </a:p>
          <a:p>
            <a:r>
              <a:rPr lang="en-GB" sz="2400" b="1" dirty="0"/>
              <a:t>Sick Pay – </a:t>
            </a:r>
            <a:r>
              <a:rPr lang="en-GB" sz="2400" dirty="0"/>
              <a:t>full pay for 6 months, ½ pay for 6 months &amp; Group Income Protection plan (if </a:t>
            </a:r>
            <a:r>
              <a:rPr lang="en-GB" sz="2400" dirty="0" err="1"/>
              <a:t>eligbile</a:t>
            </a:r>
            <a:r>
              <a:rPr lang="en-GB" sz="2400" dirty="0"/>
              <a:t>)</a:t>
            </a:r>
          </a:p>
          <a:p>
            <a:endParaRPr lang="en-GB" sz="2400" dirty="0"/>
          </a:p>
          <a:p>
            <a:r>
              <a:rPr lang="en-GB" sz="2400" b="1" dirty="0"/>
              <a:t>BUPA</a:t>
            </a:r>
            <a:r>
              <a:rPr lang="en-GB" sz="2400" dirty="0"/>
              <a:t> </a:t>
            </a:r>
            <a:r>
              <a:rPr lang="en-GB" sz="2400" b="1" dirty="0"/>
              <a:t>Healthcare</a:t>
            </a:r>
            <a:r>
              <a:rPr lang="en-GB" sz="2400" dirty="0"/>
              <a:t> – for everyone                                                     </a:t>
            </a:r>
          </a:p>
          <a:p>
            <a:r>
              <a:rPr lang="en-GB" dirty="0"/>
              <a:t> </a:t>
            </a:r>
          </a:p>
        </p:txBody>
      </p:sp>
      <p:pic>
        <p:nvPicPr>
          <p:cNvPr id="5" name="Picture 4" descr="A picture containing logo&#10;&#10;Description automatically generated">
            <a:extLst>
              <a:ext uri="{FF2B5EF4-FFF2-40B4-BE49-F238E27FC236}">
                <a16:creationId xmlns:a16="http://schemas.microsoft.com/office/drawing/2014/main" id="{F16103A7-486A-1FE3-81FA-5DD2936924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10881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Jan 2026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2.4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8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0</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90p/m</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Jan 2026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8.16 F/T p/m  £10.92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5.18 F/T p/m  £8.57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633000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Monthly Subscription Draw</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 (3 of £500) </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in 2025:</a:t>
            </a: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82,400!</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604155" y="1382685"/>
            <a:ext cx="10495328" cy="3970318"/>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dirty="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dirty="0"/>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8" ma:contentTypeDescription="Create a new document." ma:contentTypeScope="" ma:versionID="8349f6c92cd45a439ed7c115ccb8fe3a">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85e1f60f2ee48600d7114c0947510deb"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Props1.xml><?xml version="1.0" encoding="utf-8"?>
<ds:datastoreItem xmlns:ds="http://schemas.openxmlformats.org/officeDocument/2006/customXml" ds:itemID="{12979234-7424-491C-9BFF-0C09B30640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394591F-2B14-412A-9218-2986AFB9A6A7}">
  <ds:schemaRefs>
    <ds:schemaRef ds:uri="http://schemas.microsoft.com/sharepoint/v3/contenttype/forms"/>
  </ds:schemaRefs>
</ds:datastoreItem>
</file>

<file path=customXml/itemProps3.xml><?xml version="1.0" encoding="utf-8"?>
<ds:datastoreItem xmlns:ds="http://schemas.openxmlformats.org/officeDocument/2006/customXml" ds:itemID="{3045E8AB-AA1B-4F0C-8C32-1A4705CA5E1C}">
  <ds:schemaRefs>
    <ds:schemaRef ds:uri="http://schemas.microsoft.com/office/2006/metadata/properties"/>
    <ds:schemaRef ds:uri="http://schemas.microsoft.com/office/infopath/2007/PartnerControls"/>
    <ds:schemaRef ds:uri="f0a0b62c-d44e-4165-b868-7da61ff7e5d0"/>
    <ds:schemaRef ds:uri="63410da5-1bc7-47ed-9bd7-69a81b61d9a3"/>
  </ds:schemaRefs>
</ds:datastoreItem>
</file>

<file path=docProps/app.xml><?xml version="1.0" encoding="utf-8"?>
<Properties xmlns="http://schemas.openxmlformats.org/officeDocument/2006/extended-properties" xmlns:vt="http://schemas.openxmlformats.org/officeDocument/2006/docPropsVTypes">
  <TotalTime>175</TotalTime>
  <Words>1476</Words>
  <Application>Microsoft Office PowerPoint</Application>
  <PresentationFormat>Widescreen</PresentationFormat>
  <Paragraphs>268</Paragraphs>
  <Slides>24</Slides>
  <Notes>2</Notes>
  <HiddenSlides>0</HiddenSlides>
  <MMClips>2</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7" baseType="lpstr">
      <vt:lpstr>Arial</vt:lpstr>
      <vt:lpstr>Calibri</vt:lpstr>
      <vt:lpstr>Calibri Light</vt:lpstr>
      <vt:lpstr>Myriad Regular</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could your rebate look like?  Here are some example quotes to give you an idea of what members might receive through the sc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Charlotte Fackerell</cp:lastModifiedBy>
  <cp:revision>62</cp:revision>
  <dcterms:created xsi:type="dcterms:W3CDTF">2021-10-01T18:33:04Z</dcterms:created>
  <dcterms:modified xsi:type="dcterms:W3CDTF">2026-04-15T08:2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